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376109" r:id="rId2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09F726-8AA5-4728-A441-54D5C6DDCE53}" v="4" dt="2021-11-12T06:01:49.0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na" userId="8ae98f8971f943e3" providerId="LiveId" clId="{6309F726-8AA5-4728-A441-54D5C6DDCE53}"/>
    <pc:docChg chg="delSld modSld">
      <pc:chgData name="Nina" userId="8ae98f8971f943e3" providerId="LiveId" clId="{6309F726-8AA5-4728-A441-54D5C6DDCE53}" dt="2021-11-12T06:01:52.195" v="6" actId="6549"/>
      <pc:docMkLst>
        <pc:docMk/>
      </pc:docMkLst>
      <pc:sldChg chg="del">
        <pc:chgData name="Nina" userId="8ae98f8971f943e3" providerId="LiveId" clId="{6309F726-8AA5-4728-A441-54D5C6DDCE53}" dt="2021-11-12T05:58:42.197" v="0" actId="47"/>
        <pc:sldMkLst>
          <pc:docMk/>
          <pc:sldMk cId="2800726347" sldId="2147376108"/>
        </pc:sldMkLst>
      </pc:sldChg>
      <pc:sldChg chg="modSp mod">
        <pc:chgData name="Nina" userId="8ae98f8971f943e3" providerId="LiveId" clId="{6309F726-8AA5-4728-A441-54D5C6DDCE53}" dt="2021-11-12T06:01:52.195" v="6" actId="6549"/>
        <pc:sldMkLst>
          <pc:docMk/>
          <pc:sldMk cId="3509201788" sldId="2147376109"/>
        </pc:sldMkLst>
        <pc:spChg chg="mod">
          <ac:chgData name="Nina" userId="8ae98f8971f943e3" providerId="LiveId" clId="{6309F726-8AA5-4728-A441-54D5C6DDCE53}" dt="2021-11-12T06:01:52.195" v="6" actId="6549"/>
          <ac:spMkLst>
            <pc:docMk/>
            <pc:sldMk cId="3509201788" sldId="2147376109"/>
            <ac:spMk id="2" creationId="{E0369AC8-2EE6-4CE9-AAD5-C2677983AA00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jpe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jpe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476698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25" name="Bildplatzhalter 7">
            <a:extLst>
              <a:ext uri="{FF2B5EF4-FFF2-40B4-BE49-F238E27FC236}">
                <a16:creationId xmlns:a16="http://schemas.microsoft.com/office/drawing/2014/main" id="{7FCA8480-3DD5-4021-A659-0E4B23559E6E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1413258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4310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1745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9668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663304"/>
            <a:ext cx="9144000" cy="1846659"/>
          </a:xfrm>
        </p:spPr>
        <p:txBody>
          <a:bodyPr anchor="b"/>
          <a:lstStyle>
            <a:lvl1pPr algn="ctr">
              <a:defRPr sz="6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F68D1-0145-3546-9F60-DCAAF73A1C8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32944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20138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378165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77167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05288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8967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2530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18522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5610164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89432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176171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15902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067850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962031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873340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41087634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14464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851006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38196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40468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22801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79655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5773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accent1"/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accent2"/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27717295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864444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66456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1509605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348721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1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6851693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76"/>
            <a:ext cx="890831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148" y="2067127"/>
            <a:ext cx="4104875" cy="2659484"/>
            <a:chOff x="3013829" y="1420446"/>
            <a:chExt cx="3412817" cy="2210533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/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4" cy="1885957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4" y="3159129"/>
                <a:ext cx="749301" cy="847727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6" y="3159132"/>
                <a:ext cx="733426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7" y="3159128"/>
                <a:ext cx="733426" cy="860424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48"/>
                <a:ext cx="847723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3" y="2139949"/>
                <a:ext cx="781047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7" y="2139949"/>
                <a:ext cx="777874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4" y="3159123"/>
                <a:ext cx="822323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5" y="3159123"/>
                <a:ext cx="825501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5" y="3159124"/>
                <a:ext cx="650874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6"/>
                <a:ext cx="609599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1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2" y="2139951"/>
                <a:ext cx="873123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MANN+HUMMEL</a:t>
            </a:r>
            <a:br>
              <a:rPr lang="en-US" noProof="0"/>
            </a:br>
            <a:r>
              <a:rPr lang="en-US" noProof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Phone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Fax     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Mobile    +xx </a:t>
            </a:r>
            <a:r>
              <a:rPr lang="en-US" noProof="0" err="1"/>
              <a:t>xxxx</a:t>
            </a:r>
            <a:r>
              <a:rPr lang="en-US" noProof="0"/>
              <a:t> xx xxx</a:t>
            </a:r>
            <a:br>
              <a:rPr lang="en-US" noProof="0"/>
            </a:br>
            <a:r>
              <a:rPr lang="en-US" noProof="0"/>
              <a:t>max.mustermann@mann-hummel.com</a:t>
            </a:r>
            <a:br>
              <a:rPr lang="en-US" noProof="0"/>
            </a:br>
            <a:r>
              <a:rPr lang="en-US" noProof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/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MANN+HUMMEL</a:t>
            </a:r>
            <a:br>
              <a:rPr lang="en-US" noProof="0"/>
            </a:br>
            <a:r>
              <a:rPr lang="en-US" noProof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Phone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Fax     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Mobile    +xx </a:t>
            </a:r>
            <a:r>
              <a:rPr lang="en-US" noProof="0" err="1"/>
              <a:t>xxxx</a:t>
            </a:r>
            <a:r>
              <a:rPr lang="en-US" noProof="0"/>
              <a:t> xx xxx</a:t>
            </a:r>
            <a:br>
              <a:rPr lang="en-US" noProof="0"/>
            </a:br>
            <a:r>
              <a:rPr lang="en-US" noProof="0"/>
              <a:t>max.mustermann@mann-hummel.com</a:t>
            </a:r>
            <a:br>
              <a:rPr lang="en-US" noProof="0"/>
            </a:br>
            <a:r>
              <a:rPr lang="en-US" noProof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22284036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3033" y="2761657"/>
            <a:ext cx="6694257" cy="615553"/>
          </a:xfrm>
          <a:noFill/>
        </p:spPr>
        <p:txBody>
          <a:bodyPr anchor="ctr"/>
          <a:lstStyle>
            <a:lvl1pPr algn="l"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148055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mall/Background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AE332F-CB2A-466F-9CE9-7B11085E1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4" progId="TCLayout.ActiveDocument.1">
                  <p:embed/>
                </p:oleObj>
              </mc:Choice>
              <mc:Fallback>
                <p:oleObj name="think-cell Folie" r:id="rId3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AE332F-CB2A-466F-9CE9-7B11085E1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1" y="0"/>
            <a:ext cx="4872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915075"/>
            <a:ext cx="3816350" cy="561414"/>
          </a:xfrm>
        </p:spPr>
        <p:txBody>
          <a:bodyPr vert="horz" bIns="180000" anchor="t" anchorCtr="0"/>
          <a:lstStyle>
            <a:lvl1pPr algn="r" rtl="0">
              <a:defRPr sz="2399"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0863" y="549275"/>
            <a:ext cx="3816351" cy="153888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000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OPTIONAL OVERLIN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0" y="6294877"/>
            <a:ext cx="4962144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pt-BR"/>
              <a:t>MANN+HUMMEL // Project Proposal // Mar 10, 2021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427981" y="6294877"/>
            <a:ext cx="426315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D11B86CD-879F-6340-9D4A-363AC593F2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411788" y="549275"/>
            <a:ext cx="6229350" cy="5543550"/>
          </a:xfrm>
        </p:spPr>
        <p:txBody>
          <a:bodyPr/>
          <a:lstStyle>
            <a:lvl1pPr marL="171399" indent="-171399" rtl="0">
              <a:buClr>
                <a:schemeClr val="accent1"/>
              </a:buClr>
              <a:buFont typeface="Symbol" pitchFamily="2" charset="2"/>
              <a:buChar char="-"/>
              <a:defRPr/>
            </a:lvl1pPr>
            <a:lvl2pPr marL="457063" indent="-171399" rtl="0">
              <a:lnSpc>
                <a:spcPts val="1400"/>
              </a:lnSpc>
              <a:spcBef>
                <a:spcPts val="400"/>
              </a:spcBef>
              <a:buFont typeface="Symbol" pitchFamily="2" charset="2"/>
              <a:buChar char="-"/>
              <a:defRPr b="0"/>
            </a:lvl2pPr>
          </a:lstStyle>
          <a:p>
            <a:pPr lvl="0"/>
            <a:r>
              <a:rPr lang="en-US"/>
              <a:t>Placeholder content</a:t>
            </a:r>
          </a:p>
          <a:p>
            <a:pPr lvl="1"/>
            <a:r>
              <a:rPr lang="en-US"/>
              <a:t>Placeholder content</a:t>
            </a:r>
          </a:p>
          <a:p>
            <a:pPr lvl="1"/>
            <a:r>
              <a:rPr lang="en-US"/>
              <a:t>Placeholder content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00002"/>
            <a:ext cx="3816350" cy="4292825"/>
          </a:xfrm>
        </p:spPr>
        <p:txBody>
          <a:bodyPr>
            <a:noAutofit/>
          </a:bodyPr>
          <a:lstStyle>
            <a:lvl1pPr marL="0" indent="0" algn="r" rtl="0">
              <a:buClr>
                <a:srgbClr val="F08800"/>
              </a:buClr>
              <a:buFont typeface="Symbol" pitchFamily="2" charset="2"/>
              <a:buNone/>
              <a:defRPr b="0"/>
            </a:lvl1pPr>
            <a:lvl2pPr marL="628461" indent="-171399" algn="r">
              <a:buClr>
                <a:srgbClr val="F08800"/>
              </a:buClr>
              <a:buFont typeface="Symbol" pitchFamily="2" charset="2"/>
              <a:buChar char="-"/>
              <a:defRPr b="0"/>
            </a:lvl2pPr>
            <a:lvl3pPr marL="914126" indent="0" algn="r">
              <a:buFont typeface="Symbol" pitchFamily="2" charset="2"/>
              <a:buNone/>
              <a:defRPr b="0"/>
            </a:lvl3pPr>
          </a:lstStyle>
          <a:p>
            <a:pPr marL="171399" marR="0" lvl="0" indent="-171399" algn="r" defTabSz="914126" rtl="0" eaLnBrk="1" fontAlgn="auto" latinLnBrk="0" hangingPunct="1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laceholder text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048" y="6294875"/>
            <a:ext cx="576000" cy="263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92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9">
          <p15:clr>
            <a:srgbClr val="FBAE40"/>
          </p15:clr>
        </p15:guide>
        <p15:guide id="2" pos="347">
          <p15:clr>
            <a:srgbClr val="FBAE40"/>
          </p15:clr>
        </p15:guide>
        <p15:guide id="3" pos="3409">
          <p15:clr>
            <a:srgbClr val="FBAE40"/>
          </p15:clr>
        </p15:guide>
        <p15:guide id="4" pos="7333">
          <p15:clr>
            <a:srgbClr val="FBAE40"/>
          </p15:clr>
        </p15:guide>
        <p15:guide id="6" orient="horz" pos="346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pos="275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Slide title (2 lines | max. 1 line with subtitle)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255871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schemeClr val="bg1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4279" y="1196752"/>
            <a:ext cx="3743441" cy="3744416"/>
          </a:xfrm>
          <a:blipFill>
            <a:blip r:embed="rId3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799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4279" y="4581128"/>
            <a:ext cx="3743441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4279" y="4077072"/>
            <a:ext cx="3743441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3021423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47" y="800720"/>
            <a:ext cx="104249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62" y="908840"/>
            <a:ext cx="1009364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827" y="3893569"/>
            <a:ext cx="10293319" cy="615553"/>
          </a:xfrm>
          <a:noFill/>
        </p:spPr>
        <p:txBody>
          <a:bodyPr anchor="b"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schemeClr val="bg1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827" y="4725144"/>
            <a:ext cx="10293319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val="7164947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724502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9246813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1743277"/>
            <a:ext cx="4104875" cy="2659484"/>
            <a:chOff x="3013829" y="1420446"/>
            <a:chExt cx="3412817" cy="2210533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 dirty="0"/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702673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4279" y="1196752"/>
            <a:ext cx="3743441" cy="3744416"/>
          </a:xfrm>
          <a:blipFill>
            <a:blip r:embed="rId3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799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4279" y="4581128"/>
            <a:ext cx="3743441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4279" y="4077072"/>
            <a:ext cx="3743441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27156677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47" y="800720"/>
            <a:ext cx="104249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prstClr val="white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62" y="908840"/>
            <a:ext cx="1009364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827" y="3893569"/>
            <a:ext cx="10293319" cy="615553"/>
          </a:xfrm>
          <a:noFill/>
        </p:spPr>
        <p:txBody>
          <a:bodyPr anchor="b"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827" y="4725144"/>
            <a:ext cx="10293319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val="30334826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3766366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1743277"/>
            <a:ext cx="4104875" cy="2659484"/>
            <a:chOff x="3013829" y="1420446"/>
            <a:chExt cx="3412817" cy="2210533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78138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76"/>
            <a:ext cx="890831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148" y="2067127"/>
            <a:ext cx="4104875" cy="2659484"/>
            <a:chOff x="3013829" y="1420446"/>
            <a:chExt cx="3412817" cy="2210533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4" cy="1885957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4" y="3159129"/>
                <a:ext cx="749301" cy="847727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6" y="3159132"/>
                <a:ext cx="733426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7" y="3159128"/>
                <a:ext cx="733426" cy="860424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48"/>
                <a:ext cx="847723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3" y="2139949"/>
                <a:ext cx="781047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7" y="2139949"/>
                <a:ext cx="777874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4" y="3159123"/>
                <a:ext cx="822323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5" y="3159123"/>
                <a:ext cx="825501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5" y="3159124"/>
                <a:ext cx="650874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6"/>
                <a:ext cx="609599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1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2" y="2139951"/>
                <a:ext cx="873123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28965000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3033" y="2761657"/>
            <a:ext cx="6694257" cy="615553"/>
          </a:xfrm>
          <a:noFill/>
        </p:spPr>
        <p:txBody>
          <a:bodyPr anchor="ctr"/>
          <a:lstStyle>
            <a:lvl1pPr algn="l"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85386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502403" y="0"/>
            <a:ext cx="5689599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9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6065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66346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86215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75724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28627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8295339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28350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8981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417774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39374182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84617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6585230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24349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42969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7941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7348242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71559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7827473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421DA7-75F8-4F73-9467-1124CD7F4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5495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699624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2BB840-86FF-41D5-99EA-357DB8EA8F0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1" y="0"/>
            <a:ext cx="158709" cy="15875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798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1444905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Slide title (2 lines | max. 1 line with subtitle)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D291D967-8385-4256-9333-D0C323001C9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552306" y="1700808"/>
            <a:ext cx="11444905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You can use this field to enter text, a table, </a:t>
            </a:r>
            <a:br>
              <a:rPr lang="en-US"/>
            </a:br>
            <a:r>
              <a:rPr lang="en-US"/>
              <a:t>a diagram or </a:t>
            </a:r>
            <a:r>
              <a:rPr lang="en-US" err="1"/>
              <a:t>SmartArts</a:t>
            </a:r>
            <a:r>
              <a:rPr lang="en-US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22525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7280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1298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005277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536691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6855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2827" y="332657"/>
            <a:ext cx="10293319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Slide title (2 lines | max. 1 line with subtit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827" y="1700808"/>
            <a:ext cx="10293319" cy="424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cxnSp>
        <p:nvCxnSpPr>
          <p:cNvPr id="615" name="Gerade Verbindung 614"/>
          <p:cNvCxnSpPr/>
          <p:nvPr/>
        </p:nvCxnSpPr>
        <p:spPr bwMode="gray">
          <a:xfrm>
            <a:off x="-167057" y="18864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/>
        </p:nvCxnSpPr>
        <p:spPr bwMode="gray">
          <a:xfrm>
            <a:off x="-167073" y="1700808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/>
        </p:nvCxnSpPr>
        <p:spPr bwMode="gray">
          <a:xfrm>
            <a:off x="-167089" y="594928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/>
        </p:nvCxnSpPr>
        <p:spPr bwMode="gray">
          <a:xfrm>
            <a:off x="19288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/>
        </p:nvCxnSpPr>
        <p:spPr bwMode="gray">
          <a:xfrm>
            <a:off x="552827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/>
        </p:nvCxnSpPr>
        <p:spPr bwMode="gray">
          <a:xfrm>
            <a:off x="552008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/>
        </p:nvCxnSpPr>
        <p:spPr bwMode="gray">
          <a:xfrm>
            <a:off x="10847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/>
        </p:nvCxnSpPr>
        <p:spPr bwMode="gray">
          <a:xfrm>
            <a:off x="1199911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/>
        </p:nvCxnSpPr>
        <p:spPr bwMode="gray">
          <a:xfrm>
            <a:off x="5880032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>
            <a:off x="37923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>
            <a:off x="4152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/>
        </p:nvCxnSpPr>
        <p:spPr bwMode="gray">
          <a:xfrm>
            <a:off x="724782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 bwMode="gray">
          <a:xfrm rot="21540000">
            <a:off x="7607146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CBFDA402-7933-4119-B96D-B730F29911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0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7" r="8112" b="25050"/>
          <a:stretch/>
        </p:blipFill>
        <p:spPr>
          <a:xfrm>
            <a:off x="11346869" y="6360060"/>
            <a:ext cx="845131" cy="455212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F711CB1F-703D-4E48-A876-0380D9B06DF7}"/>
              </a:ext>
            </a:extLst>
          </p:cNvPr>
          <p:cNvSpPr/>
          <p:nvPr userDrawn="1"/>
        </p:nvSpPr>
        <p:spPr>
          <a:xfrm>
            <a:off x="448970" y="188640"/>
            <a:ext cx="3703320" cy="94997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BA1FF6A0-80EB-4A7F-9F5C-3FE069CB0732}"/>
              </a:ext>
            </a:extLst>
          </p:cNvPr>
          <p:cNvSpPr/>
          <p:nvPr userDrawn="1"/>
        </p:nvSpPr>
        <p:spPr>
          <a:xfrm>
            <a:off x="8044583" y="185083"/>
            <a:ext cx="3703320" cy="9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A27254D8-479B-495D-857E-0FA0F4DE5ECA}"/>
              </a:ext>
            </a:extLst>
          </p:cNvPr>
          <p:cNvSpPr/>
          <p:nvPr userDrawn="1"/>
        </p:nvSpPr>
        <p:spPr>
          <a:xfrm>
            <a:off x="4244266" y="188640"/>
            <a:ext cx="3703320" cy="914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579924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</p:sldLayoutIdLst>
  <p:hf sldNum="0" hdr="0" ftr="0" dt="0"/>
  <p:txStyles>
    <p:titleStyle>
      <a:lvl1pPr algn="l" defTabSz="914126" rtl="0" eaLnBrk="1" latinLnBrk="0" hangingPunct="1">
        <a:spcBef>
          <a:spcPct val="0"/>
        </a:spcBef>
        <a:buNone/>
        <a:defRPr sz="2799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179946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359892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539838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719784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899730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369AC8-2EE6-4CE9-AAD5-C2677983A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27" y="332657"/>
            <a:ext cx="10293319" cy="430887"/>
          </a:xfrm>
        </p:spPr>
        <p:txBody>
          <a:bodyPr/>
          <a:lstStyle/>
          <a:p>
            <a:r>
              <a:rPr lang="en-US" sz="2800" dirty="0">
                <a:latin typeface="+mj-lt"/>
              </a:rPr>
              <a:t>Sub Project │Modul – Scope, Objectives &amp; Deliverables</a:t>
            </a:r>
            <a:endParaRPr lang="en-DE" dirty="0"/>
          </a:p>
        </p:txBody>
      </p:sp>
      <p:sp>
        <p:nvSpPr>
          <p:cNvPr id="3" name="Untertitel 5">
            <a:extLst>
              <a:ext uri="{FF2B5EF4-FFF2-40B4-BE49-F238E27FC236}">
                <a16:creationId xmlns:a16="http://schemas.microsoft.com/office/drawing/2014/main" id="{63955BA6-3301-4D4C-AC0D-9BB8F4230D48}"/>
              </a:ext>
            </a:extLst>
          </p:cNvPr>
          <p:cNvSpPr txBox="1">
            <a:spLocks/>
          </p:cNvSpPr>
          <p:nvPr/>
        </p:nvSpPr>
        <p:spPr>
          <a:xfrm>
            <a:off x="475652" y="763544"/>
            <a:ext cx="10296000" cy="432048"/>
          </a:xfrm>
          <a:prstGeom prst="rect">
            <a:avLst/>
          </a:prstGeom>
        </p:spPr>
        <p:txBody>
          <a:bodyPr/>
          <a:lstStyle>
            <a:lvl1pPr marL="179946" indent="-179946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9892" indent="-179334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838" indent="-179334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784" indent="-179334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730" indent="-179334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9730" indent="-179946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730" indent="-179946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730" indent="-179946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730" indent="-179946" algn="l" defTabSz="914126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ul / Sub Project: </a:t>
            </a:r>
            <a:r>
              <a:rPr kumimoji="0" lang="en-US" sz="1799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  <a:endParaRPr kumimoji="0" lang="en-US" sz="1799" b="0" i="1" u="none" strike="noStrike" kern="1200" cap="none" spc="-3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ktangel 7">
            <a:extLst>
              <a:ext uri="{FF2B5EF4-FFF2-40B4-BE49-F238E27FC236}">
                <a16:creationId xmlns:a16="http://schemas.microsoft.com/office/drawing/2014/main" id="{17691B4F-4703-4DB2-A0DE-58FFED1617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7576" y="1850596"/>
            <a:ext cx="365629" cy="294524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txBody>
          <a:bodyPr lIns="0" tIns="0" rIns="0" bIns="0" anchor="ctr"/>
          <a:lstStyle/>
          <a:p>
            <a:pPr marL="0" marR="0" lvl="0" indent="0" algn="ctr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C</a:t>
            </a:r>
          </a:p>
        </p:txBody>
      </p:sp>
      <p:sp>
        <p:nvSpPr>
          <p:cNvPr id="5" name="Gleichschenkliges Dreieck 4">
            <a:extLst>
              <a:ext uri="{FF2B5EF4-FFF2-40B4-BE49-F238E27FC236}">
                <a16:creationId xmlns:a16="http://schemas.microsoft.com/office/drawing/2014/main" id="{67CE2DBC-F503-44AD-9FBA-B6CBF8F5AA08}"/>
              </a:ext>
            </a:extLst>
          </p:cNvPr>
          <p:cNvSpPr/>
          <p:nvPr/>
        </p:nvSpPr>
        <p:spPr bwMode="auto">
          <a:xfrm rot="5400000">
            <a:off x="3269609" y="4138302"/>
            <a:ext cx="3900826" cy="300171"/>
          </a:xfrm>
          <a:prstGeom prst="triangle">
            <a:avLst/>
          </a:prstGeom>
          <a:solidFill>
            <a:srgbClr val="EB690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ktangel 7">
            <a:extLst>
              <a:ext uri="{FF2B5EF4-FFF2-40B4-BE49-F238E27FC236}">
                <a16:creationId xmlns:a16="http://schemas.microsoft.com/office/drawing/2014/main" id="{50BFBCDE-A204-4CC3-8350-0F4933B2AA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63" y="1850596"/>
            <a:ext cx="365629" cy="294524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txBody>
          <a:bodyPr lIns="0" tIns="0" rIns="0" bIns="0" anchor="ctr"/>
          <a:lstStyle/>
          <a:p>
            <a:pPr marL="0" marR="0" lvl="0" indent="0" algn="ctr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823CFC-DE93-42E1-A41C-0A8B7E569AA5}"/>
              </a:ext>
            </a:extLst>
          </p:cNvPr>
          <p:cNvSpPr/>
          <p:nvPr/>
        </p:nvSpPr>
        <p:spPr>
          <a:xfrm>
            <a:off x="1017467" y="1850596"/>
            <a:ext cx="3955019" cy="294524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 &amp; Objectives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5F1876AE-5794-4FFA-A10C-EE5AF1EAB3CC}"/>
              </a:ext>
            </a:extLst>
          </p:cNvPr>
          <p:cNvSpPr txBox="1">
            <a:spLocks/>
          </p:cNvSpPr>
          <p:nvPr/>
        </p:nvSpPr>
        <p:spPr>
          <a:xfrm>
            <a:off x="550863" y="2224103"/>
            <a:ext cx="4431926" cy="4165912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07972" tIns="107972" rIns="71981" bIns="35991" anchor="t" anchorCtr="0"/>
          <a:lstStyle>
            <a:defPPr>
              <a:defRPr lang="de-DE"/>
            </a:defPPr>
            <a:lvl1pPr defTabSz="762000" eaLnBrk="0" hangingPunct="0">
              <a:defRPr>
                <a:latin typeface="Tele-GroteskFet" pitchFamily="2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rgbClr val="3CA014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</a:t>
            </a:r>
          </a:p>
          <a:p>
            <a:pPr marL="177747" marR="0" lvl="0" indent="-177747" algn="l" defTabSz="914126" rtl="0" eaLnBrk="1" fontAlgn="auto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3CA014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orem ipsum dolor sit amet, consetetur sadipscing elitr, sed diam nonumy eirmod tempor invidunt</a:t>
            </a:r>
          </a:p>
          <a:p>
            <a:pPr marL="177747" marR="0" lvl="0" indent="-177747" algn="l" defTabSz="914126" rtl="0" eaLnBrk="1" fontAlgn="auto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3CA014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orem ipsum dolor sit amet, consetetur sadipscing elitr, sed diam nonumy eirmod </a:t>
            </a:r>
          </a:p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00000"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ives</a:t>
            </a:r>
          </a:p>
          <a:p>
            <a:pPr marL="177747" marR="0" lvl="0" indent="-177747" algn="l" defTabSz="914126" rtl="0" eaLnBrk="1" fontAlgn="auto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00732D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nctus est Lorem ipsum dolor sit amet. Lorem ipsum dolor sit amet, consetetur sadipscing elitr, sed diam nonumy eirmod tempor </a:t>
            </a:r>
          </a:p>
          <a:p>
            <a:pPr marL="177747" marR="0" lvl="0" indent="-177747" algn="l" defTabSz="914126" rtl="0" eaLnBrk="1" fontAlgn="auto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00732D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nctus est Lorem ipsum dolor sit amet. Lorem ipsum dolor sit amet, consetetur sadipscing elitr, sed diam nonumy eirmod tempor </a:t>
            </a:r>
          </a:p>
          <a:p>
            <a:pPr marL="177747" marR="0" lvl="0" indent="-177747" algn="l" defTabSz="914126" rtl="0" eaLnBrk="1" fontAlgn="auto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00732D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nctus est Lorem ipsum dolor sit amet. Lorem ipsum dolor sit amet, consetetur sadipscing elitr, sed diam nonumy eirmod tempor </a:t>
            </a:r>
          </a:p>
          <a:p>
            <a:pPr marL="177747" marR="0" lvl="0" indent="-177747" algn="l" defTabSz="914126" rtl="0" eaLnBrk="1" fontAlgn="auto" latinLnBrk="0" hangingPunct="1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00732D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nctus est Lorem ipsum dolor sit amet. Lorem ipsum dolor sit amet, consetetur sadipscing elitr, sed diam nonumy eirmod tempor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EE9DCB54-86C5-4D21-A3F2-82C76353182A}"/>
              </a:ext>
            </a:extLst>
          </p:cNvPr>
          <p:cNvGraphicFramePr>
            <a:graphicFrameLocks noGrp="1"/>
          </p:cNvGraphicFramePr>
          <p:nvPr/>
        </p:nvGraphicFramePr>
        <p:xfrm>
          <a:off x="5528527" y="1862784"/>
          <a:ext cx="6436791" cy="4517187"/>
        </p:xfrm>
        <a:graphic>
          <a:graphicData uri="http://schemas.openxmlformats.org/drawingml/2006/table">
            <a:tbl>
              <a:tblPr firstRow="1" bandRow="1"/>
              <a:tblGrid>
                <a:gridCol w="54575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2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2612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noProof="0" dirty="0"/>
                        <a:t>Deliverables (What is the measurable key result / outcome)</a:t>
                      </a: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noProof="0" dirty="0"/>
                        <a:t>Due date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4009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+mn-lt"/>
                        </a:rPr>
                        <a:t>D1: </a:t>
                      </a:r>
                      <a:r>
                        <a:rPr lang="en-US" sz="1000" noProof="0" dirty="0">
                          <a:latin typeface="+mn-lt"/>
                        </a:rPr>
                        <a:t>Lore ipsum ut labore et dolore magna aliquyam erat, sed diam voluptua. At vero eos et accusam et justo duo dolores et ea rebum</a:t>
                      </a: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/>
                        <a:t>31.01.20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0362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+mn-lt"/>
                        </a:rPr>
                        <a:t>D2: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ore ipsum </a:t>
                      </a:r>
                      <a:r>
                        <a:rPr lang="en-US" sz="1000" noProof="0" dirty="0">
                          <a:latin typeface="+mn-lt"/>
                        </a:rPr>
                        <a:t> ut labore et dolore magna aliquyam erat, sed diam voluptua. At vero eos et accusam et justo duo dolores et ea rebum</a:t>
                      </a: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/>
                        <a:t>25.02.20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0363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+mj-lt"/>
                        <a:buNone/>
                      </a:pPr>
                      <a:r>
                        <a:rPr lang="en-US" sz="10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D3: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ore ipsum </a:t>
                      </a:r>
                      <a:r>
                        <a:rPr lang="en-US" sz="1000" noProof="0" dirty="0">
                          <a:solidFill>
                            <a:schemeClr val="tx1"/>
                          </a:solidFill>
                          <a:latin typeface="+mn-lt"/>
                        </a:rPr>
                        <a:t> ut labore et dolore magna aliquyam erat, sed diam voluptua. At vero eos et accusam et justo duo dolores et ea rebum</a:t>
                      </a: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00" noProof="0" dirty="0"/>
                        <a:t>31.03.20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869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+mn-lt"/>
                        </a:rPr>
                        <a:t>D4: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ore ipsum </a:t>
                      </a:r>
                      <a:r>
                        <a:rPr lang="en-US" sz="1000" noProof="0" dirty="0">
                          <a:latin typeface="+mn-lt"/>
                        </a:rPr>
                        <a:t> ut labore et dolore magna aliquyam erat, sed diam voluptua. At vero eos et accusam et justo duo dolores et ea rebum</a:t>
                      </a: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/>
                        <a:t>31.03.20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045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latin typeface="+mn-lt"/>
                        </a:rPr>
                        <a:t>D5: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ore ipsum  ut labore et dolore magna aliquyam erat, sed diam voluptua. At vero eos et accusam et justo duo dolores et ea rebum</a:t>
                      </a:r>
                      <a:endParaRPr lang="en-US" sz="1000" noProof="0" dirty="0">
                        <a:latin typeface="+mn-lt"/>
                      </a:endParaRP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00" noProof="0" dirty="0"/>
                        <a:t>31.03.20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5291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+mj-lt"/>
                        <a:buNone/>
                      </a:pPr>
                      <a:r>
                        <a:rPr lang="en-US" sz="1000" b="1" noProof="0" dirty="0">
                          <a:latin typeface="+mn-lt"/>
                        </a:rPr>
                        <a:t>D6: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ore ipsum  ut labore et dolore magna aliquyam erat, sed diam voluptua. At vero eos et accusam et justo duo dolores et ea rebum</a:t>
                      </a:r>
                      <a:endParaRPr lang="en-US" sz="1000" noProof="0" dirty="0">
                        <a:latin typeface="+mn-lt"/>
                      </a:endParaRP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/>
                        <a:t>30.04.20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3484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+mj-lt"/>
                        <a:buNone/>
                      </a:pPr>
                      <a:r>
                        <a:rPr lang="en-US" sz="1000" b="1" noProof="0" dirty="0">
                          <a:latin typeface="+mn-lt"/>
                        </a:rPr>
                        <a:t>D7: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ore ipsum  ut labore et dolore magna aliquyam erat, sed diam voluptua. At vero eos et accusam et justo duo dolores et ea rebum</a:t>
                      </a:r>
                      <a:endParaRPr lang="en-US" sz="1000" noProof="0" dirty="0">
                        <a:latin typeface="+mn-lt"/>
                      </a:endParaRP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/>
                        <a:t>31.05.20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34152"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+mj-lt"/>
                        <a:buNone/>
                      </a:pPr>
                      <a:r>
                        <a:rPr lang="en-US" sz="1000" b="1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8: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ore ipsum  ut labore et dolore magna aliquyam erat, sed diam voluptua. At vero eos et accusam et justo duo dolores et ea rebum</a:t>
                      </a:r>
                      <a:endParaRPr lang="en-US" sz="1000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>
                    <a:lnL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06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126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189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251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314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2377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9440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6503" algn="l" defTabSz="914126" rtl="0" eaLnBrk="1" latinLnBrk="0" hangingPunct="1">
                        <a:defRPr sz="16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00" noProof="0" dirty="0"/>
                        <a:t>30.06.20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732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0" name="Rektangel 7">
            <a:extLst>
              <a:ext uri="{FF2B5EF4-FFF2-40B4-BE49-F238E27FC236}">
                <a16:creationId xmlns:a16="http://schemas.microsoft.com/office/drawing/2014/main" id="{02DF2E52-104B-4878-AEDD-FB01B6B9B2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63" y="1479217"/>
            <a:ext cx="365629" cy="294524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txBody>
          <a:bodyPr lIns="0" tIns="0" rIns="0" bIns="0" anchor="ctr"/>
          <a:lstStyle/>
          <a:p>
            <a:pPr marL="0" marR="0" lvl="0" indent="0" algn="ctr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A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6F1B78-9C64-4892-A466-2E0770DC6DAB}"/>
              </a:ext>
            </a:extLst>
          </p:cNvPr>
          <p:cNvSpPr/>
          <p:nvPr/>
        </p:nvSpPr>
        <p:spPr bwMode="gray">
          <a:xfrm>
            <a:off x="1017468" y="1479217"/>
            <a:ext cx="2409126" cy="306000"/>
          </a:xfrm>
          <a:prstGeom prst="rect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ponsible Business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90B534AD-52BD-484C-A6D8-D571C8B5BEBB}"/>
              </a:ext>
            </a:extLst>
          </p:cNvPr>
          <p:cNvSpPr txBox="1">
            <a:spLocks/>
          </p:cNvSpPr>
          <p:nvPr/>
        </p:nvSpPr>
        <p:spPr>
          <a:xfrm>
            <a:off x="3426594" y="1479217"/>
            <a:ext cx="1504283" cy="306000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07972" tIns="35991" rIns="71981" bIns="35991" anchor="ctr" anchorCtr="0"/>
          <a:lstStyle>
            <a:defPPr>
              <a:defRPr lang="de-DE"/>
            </a:defPPr>
            <a:lvl1pPr defTabSz="762000" eaLnBrk="0" hangingPunct="0">
              <a:defRPr>
                <a:latin typeface="Tele-GroteskFet" pitchFamily="2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AEC528E-568F-4A0B-97C1-36BD575EF9DC}"/>
              </a:ext>
            </a:extLst>
          </p:cNvPr>
          <p:cNvSpPr/>
          <p:nvPr/>
        </p:nvSpPr>
        <p:spPr bwMode="gray">
          <a:xfrm>
            <a:off x="5528527" y="1488840"/>
            <a:ext cx="4451599" cy="328238"/>
          </a:xfrm>
          <a:prstGeom prst="rect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ponsible IT / Consultan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2FE7CED8-5E9A-4056-93DA-151F78A803E6}"/>
              </a:ext>
            </a:extLst>
          </p:cNvPr>
          <p:cNvSpPr txBox="1">
            <a:spLocks/>
          </p:cNvSpPr>
          <p:nvPr/>
        </p:nvSpPr>
        <p:spPr>
          <a:xfrm>
            <a:off x="9980126" y="1479217"/>
            <a:ext cx="1985192" cy="306000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07972" tIns="35991" rIns="71981" bIns="35991" anchor="ctr" anchorCtr="0"/>
          <a:lstStyle>
            <a:defPPr>
              <a:defRPr lang="de-DE"/>
            </a:defPPr>
            <a:lvl1pPr defTabSz="762000" eaLnBrk="0" hangingPunct="0">
              <a:defRPr>
                <a:latin typeface="Tele-GroteskFet" pitchFamily="2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092017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pgvvZbNQ9y68pSCQRD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_PowerPoint Master">
  <a:themeElements>
    <a:clrScheme name="Orange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rgbClr val="3CA01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  <a:custClrLst>
    <a:custClr name="M+H Green">
      <a:srgbClr val="00732D"/>
    </a:custClr>
    <a:custClr name="M+H Light-green">
      <a:srgbClr val="3CA014"/>
    </a:custClr>
    <a:custClr name="M+H Orange">
      <a:srgbClr val="EB690F"/>
    </a:custClr>
    <a:custClr name="M+H Red">
      <a:srgbClr val="BE001E"/>
    </a:custClr>
    <a:custClr name="Black">
      <a:srgbClr val="000000"/>
    </a:custClr>
    <a:custClr name="Grey">
      <a:srgbClr val="6666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80% M+H Green">
      <a:srgbClr val="358F5C"/>
    </a:custClr>
    <a:custClr name="80% M+H Light-green">
      <a:srgbClr val="63B343"/>
    </a:custClr>
    <a:custClr name="80% M+H Orange">
      <a:srgbClr val="EF873F"/>
    </a:custClr>
    <a:custClr name="80% M+H Red">
      <a:srgbClr val="CB334B"/>
    </a:custClr>
    <a:custClr name="80% Black">
      <a:srgbClr val="333333"/>
    </a:custClr>
    <a:custClr name="80% Grey">
      <a:srgbClr val="85858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60% M+H Green">
      <a:srgbClr val="67AB85"/>
    </a:custClr>
    <a:custClr name="60% M+H Light-green">
      <a:srgbClr val="8AC672"/>
    </a:custClr>
    <a:custClr name="60% M+H Orange">
      <a:srgbClr val="F3A56F"/>
    </a:custClr>
    <a:custClr name="60% M+H Red">
      <a:srgbClr val="D86978"/>
    </a:custClr>
    <a:custClr name="60% Black">
      <a:srgbClr val="666666"/>
    </a:custClr>
    <a:custClr name="60% Grey">
      <a:srgbClr val="A3A3A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40% M+H Green">
      <a:srgbClr val="9AC7AE"/>
    </a:custClr>
    <a:custClr name="40% M+H Light-green">
      <a:srgbClr val="B1D9A1"/>
    </a:custClr>
    <a:custClr name="40% M+H Orange">
      <a:srgbClr val="F7C39F"/>
    </a:custClr>
    <a:custClr name="40% M+H Red">
      <a:srgbClr val="E599A5"/>
    </a:custClr>
    <a:custClr name="40% Black">
      <a:srgbClr val="999999"/>
    </a:custClr>
    <a:custClr name="40% Grey">
      <a:srgbClr val="C2C2C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20% M+H Green">
      <a:srgbClr val="CCE3D6"/>
    </a:custClr>
    <a:custClr name="20% M+H Light-green">
      <a:srgbClr val="D8ECD0"/>
    </a:custClr>
    <a:custClr name="20% M+H Orange">
      <a:srgbClr val="FBE1CF"/>
    </a:custClr>
    <a:custClr name="20% M+H Red">
      <a:srgbClr val="F2CCD2"/>
    </a:custClr>
    <a:custClr name="20% Black">
      <a:srgbClr val="CCCCCC"/>
    </a:custClr>
    <a:custClr name="20% Grey">
      <a:srgbClr val="E0E0E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MH.pptx" id="{07A94DDE-5B6A-47C2-8B0A-2B2660A1F5E4}" vid="{78C34495-9072-48A6-B75D-10420CD1D5C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5</Words>
  <Application>Microsoft Office PowerPoint</Application>
  <PresentationFormat>Breitbild</PresentationFormat>
  <Paragraphs>3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Symbol</vt:lpstr>
      <vt:lpstr>Wingdings</vt:lpstr>
      <vt:lpstr>MH_PowerPoint Master</vt:lpstr>
      <vt:lpstr>think-cell Slide</vt:lpstr>
      <vt:lpstr>think-cell Folie</vt:lpstr>
      <vt:lpstr>Sub Project │Modul – Scope, Objectives &amp; Deliverab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Responsibles – Scope, Objectives &amp; Deliverables</dc:title>
  <dc:creator>Nina</dc:creator>
  <cp:lastModifiedBy>Nina</cp:lastModifiedBy>
  <cp:revision>1</cp:revision>
  <dcterms:created xsi:type="dcterms:W3CDTF">2021-11-12T05:50:15Z</dcterms:created>
  <dcterms:modified xsi:type="dcterms:W3CDTF">2021-11-12T06:02:09Z</dcterms:modified>
</cp:coreProperties>
</file>